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91" r:id="rId1"/>
  </p:sldMasterIdLst>
  <p:notesMasterIdLst>
    <p:notesMasterId r:id="rId12"/>
  </p:notesMasterIdLst>
  <p:handoutMasterIdLst>
    <p:handoutMasterId r:id="rId13"/>
  </p:handoutMasterIdLst>
  <p:sldIdLst>
    <p:sldId id="2146847048" r:id="rId2"/>
    <p:sldId id="2146847070" r:id="rId3"/>
    <p:sldId id="2146847072" r:id="rId4"/>
    <p:sldId id="2146847091" r:id="rId5"/>
    <p:sldId id="2146847068" r:id="rId6"/>
    <p:sldId id="2146847078" r:id="rId7"/>
    <p:sldId id="2146847098" r:id="rId8"/>
    <p:sldId id="2146847054" r:id="rId9"/>
    <p:sldId id="2146847063" r:id="rId10"/>
    <p:sldId id="2146847067" r:id="rId11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IBM Plex Sans" panose="020B0503050203000203" pitchFamily="34" charset="0"/>
      <p:regular r:id="rId18"/>
      <p:bold r:id="rId19"/>
      <p:italic r:id="rId20"/>
      <p:boldItalic r:id="rId21"/>
    </p:embeddedFont>
    <p:embeddedFont>
      <p:font typeface="IBM Plex Sans Light" panose="020B0403050203000203" pitchFamily="34" charset="0"/>
      <p:regular r:id="rId22"/>
      <p:italic r:id="rId23"/>
    </p:embeddedFont>
  </p:embeddedFontLst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2C2C052-A30F-7DD5-8DFD-47BB6C5C8912}" name="Dennis Woo" initials="DW" userId="S::dennis.woo@ibm.com::3ae10ab0-26fa-4eaa-84e9-7e29c6a1854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732"/>
    <p:restoredTop sz="95108"/>
  </p:normalViewPr>
  <p:slideViewPr>
    <p:cSldViewPr snapToGrid="0" snapToObjects="1">
      <p:cViewPr varScale="1">
        <p:scale>
          <a:sx n="208" d="100"/>
          <a:sy n="208" d="100"/>
        </p:scale>
        <p:origin x="848" y="8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5443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8805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78012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1" r:id="rId4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13.jpg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slideLayout" Target="../slideLayouts/slideLayout25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image" Target="../media/image1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hyperlink" Target="https://techzone.ibm.com/collection/platinum-demos-api-enabled-application-integration" TargetMode="Externa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7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1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1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14.jp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3.jp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2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14.jpg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image" Target="../media/image13.jp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30.xml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hyperlink" Target="https://www.ibm.com/docs/en/app-connect/containers_cd?topic=designer-testing-running-api-flow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ibm.com/docs/en/app-connect/containers_eus?topic=servers-deploying-designer-authored-integrations-integration" TargetMode="External"/><Relationship Id="rId5" Type="http://schemas.openxmlformats.org/officeDocument/2006/relationships/hyperlink" Target="https://www.ibm.com/docs/en/app-connect/containers_cd?topic=creating-managing-flows-in-app-connect-designer" TargetMode="External"/><Relationship Id="rId4" Type="http://schemas.openxmlformats.org/officeDocument/2006/relationships/hyperlink" Target="https://www.ibm.com/docs/en/app-connect/containers_cd?topic=cffs-cloud-pak-integration-only-creating-flows-api-from-scratch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4039293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ation Platinum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-enabled</a:t>
            </a:r>
            <a:br>
              <a:rPr lang="en-US" sz="2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integration</a:t>
            </a:r>
          </a:p>
          <a:p>
            <a:pPr defTabSz="914400">
              <a:defRPr/>
            </a:pP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blur&#10;&#10;Description automatically generated">
            <a:extLst>
              <a:ext uri="{FF2B5EF4-FFF2-40B4-BE49-F238E27FC236}">
                <a16:creationId xmlns:a16="http://schemas.microsoft.com/office/drawing/2014/main" id="{2F7E4473-F0D8-E732-152C-A4A558A5CF23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32" name="Picture 31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CCB8424B-AA21-D674-B8F5-917657FEF076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architecture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176CF62B-BBD5-43D4-7E62-B94CFBF4AC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51954" y="869550"/>
            <a:ext cx="4640093" cy="308114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b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685808">
              <a:tabLst>
                <a:tab pos="1489094" algn="l"/>
              </a:tabLst>
              <a:defRPr/>
            </a:pPr>
            <a:endParaRPr lang="en-GB" altLang="ja-JP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6B004D2-D3A5-735E-E30B-158FD9D4A678}"/>
              </a:ext>
            </a:extLst>
          </p:cNvPr>
          <p:cNvSpPr txBox="1"/>
          <p:nvPr/>
        </p:nvSpPr>
        <p:spPr>
          <a:xfrm>
            <a:off x="2251953" y="3627762"/>
            <a:ext cx="46400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Integration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A2ABFFF6-EA31-5777-20C2-369500DE02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34347" y="2400998"/>
            <a:ext cx="4275306" cy="11735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endParaRPr lang="en-US" sz="12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41715032-073B-6DA3-1E06-28001C3A56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35621" y="2732733"/>
            <a:ext cx="1529741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er authoring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DEABB551-5B08-E08C-42C3-974CA5D232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41642" y="1057516"/>
            <a:ext cx="4275306" cy="12378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endParaRPr lang="en-US" sz="12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E510E645-7643-17DB-FF9F-638871763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835622" y="1175718"/>
            <a:ext cx="1530846" cy="271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r portal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72E8D772-2E7F-7433-B0E8-53CE1AA978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951379" y="1634099"/>
            <a:ext cx="1529748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 gateway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1DF1F000-7041-8537-9C98-318BACDE93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836727" y="1637463"/>
            <a:ext cx="1529741" cy="271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 manager</a:t>
            </a:r>
          </a:p>
        </p:txBody>
      </p:sp>
      <p:sp>
        <p:nvSpPr>
          <p:cNvPr id="27" name="Rectangle 4">
            <a:extLst>
              <a:ext uri="{FF2B5EF4-FFF2-40B4-BE49-F238E27FC236}">
                <a16:creationId xmlns:a16="http://schemas.microsoft.com/office/drawing/2014/main" id="{434BDA79-CC22-B846-1B84-2A3DDAAF8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071185" y="4046400"/>
            <a:ext cx="1290137" cy="10261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b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i="1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64C628FF-3E16-20E9-1B52-62EA2B2CB8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163433" y="4144428"/>
            <a:ext cx="1105640" cy="6118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r Account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D972F0DD-1912-C16A-3015-75CF71E60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951379" y="2950514"/>
            <a:ext cx="1529748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force connector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455651BB-ED59-B5DE-68C1-08920ACD43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951379" y="2514952"/>
            <a:ext cx="1529748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 flow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30BF6189-82BD-C1CB-B32E-3C7AA0DC9268}"/>
              </a:ext>
            </a:extLst>
          </p:cNvPr>
          <p:cNvCxnSpPr>
            <a:cxnSpLocks/>
            <a:stCxn id="24" idx="2"/>
            <a:endCxn id="28" idx="0"/>
          </p:cNvCxnSpPr>
          <p:nvPr/>
        </p:nvCxnSpPr>
        <p:spPr bwMode="auto">
          <a:xfrm>
            <a:off x="5716253" y="3224834"/>
            <a:ext cx="0" cy="919594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09FC2DE-1AB3-49CC-810B-2F769DF5B21A}"/>
              </a:ext>
            </a:extLst>
          </p:cNvPr>
          <p:cNvCxnSpPr>
            <a:cxnSpLocks/>
            <a:stCxn id="18" idx="2"/>
            <a:endCxn id="24" idx="0"/>
          </p:cNvCxnSpPr>
          <p:nvPr/>
        </p:nvCxnSpPr>
        <p:spPr bwMode="auto">
          <a:xfrm>
            <a:off x="5716253" y="2789272"/>
            <a:ext cx="0" cy="161242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36080-5E89-B017-E0A8-EA5E95BCB6E3}"/>
              </a:ext>
            </a:extLst>
          </p:cNvPr>
          <p:cNvCxnSpPr>
            <a:cxnSpLocks/>
            <a:stCxn id="21" idx="3"/>
            <a:endCxn id="20" idx="1"/>
          </p:cNvCxnSpPr>
          <p:nvPr/>
        </p:nvCxnSpPr>
        <p:spPr bwMode="auto">
          <a:xfrm flipV="1">
            <a:off x="4366468" y="1771259"/>
            <a:ext cx="584911" cy="1754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ot"/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2A2BFA8-1F59-2924-C505-A299893E04F0}"/>
              </a:ext>
            </a:extLst>
          </p:cNvPr>
          <p:cNvCxnSpPr>
            <a:cxnSpLocks/>
            <a:stCxn id="21" idx="0"/>
            <a:endCxn id="19" idx="2"/>
          </p:cNvCxnSpPr>
          <p:nvPr/>
        </p:nvCxnSpPr>
        <p:spPr bwMode="auto">
          <a:xfrm flipH="1" flipV="1">
            <a:off x="3601045" y="1446818"/>
            <a:ext cx="553" cy="190645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82CBE04A-AC41-1AD9-7D2F-BC37396E4487}"/>
              </a:ext>
            </a:extLst>
          </p:cNvPr>
          <p:cNvCxnSpPr>
            <a:cxnSpLocks/>
            <a:stCxn id="20" idx="2"/>
            <a:endCxn id="18" idx="0"/>
          </p:cNvCxnSpPr>
          <p:nvPr/>
        </p:nvCxnSpPr>
        <p:spPr bwMode="auto">
          <a:xfrm>
            <a:off x="5716253" y="1908419"/>
            <a:ext cx="0" cy="606533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0A6B9D72-010C-D118-EF85-039688E7000C}"/>
              </a:ext>
            </a:extLst>
          </p:cNvPr>
          <p:cNvCxnSpPr>
            <a:cxnSpLocks/>
            <a:stCxn id="25" idx="3"/>
            <a:endCxn id="18" idx="1"/>
          </p:cNvCxnSpPr>
          <p:nvPr/>
        </p:nvCxnSpPr>
        <p:spPr bwMode="auto">
          <a:xfrm flipV="1">
            <a:off x="4365362" y="2652112"/>
            <a:ext cx="586017" cy="217781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59942B55-F8BE-268F-2E4A-B3C746448FC9}"/>
              </a:ext>
            </a:extLst>
          </p:cNvPr>
          <p:cNvCxnSpPr>
            <a:cxnSpLocks/>
            <a:stCxn id="75" idx="2"/>
            <a:endCxn id="19" idx="0"/>
          </p:cNvCxnSpPr>
          <p:nvPr/>
        </p:nvCxnSpPr>
        <p:spPr bwMode="auto">
          <a:xfrm>
            <a:off x="3601045" y="811078"/>
            <a:ext cx="0" cy="36464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E0665DC7-6BD6-7B16-87FD-041AFB4FF4EF}"/>
              </a:ext>
            </a:extLst>
          </p:cNvPr>
          <p:cNvCxnSpPr>
            <a:cxnSpLocks/>
            <a:stCxn id="25" idx="3"/>
            <a:endCxn id="24" idx="1"/>
          </p:cNvCxnSpPr>
          <p:nvPr/>
        </p:nvCxnSpPr>
        <p:spPr bwMode="auto">
          <a:xfrm>
            <a:off x="4365362" y="2869893"/>
            <a:ext cx="586017" cy="217781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2E39F660-DE05-05EB-98A4-E5B7E54BDAF5}"/>
              </a:ext>
            </a:extLst>
          </p:cNvPr>
          <p:cNvSpPr txBox="1"/>
          <p:nvPr/>
        </p:nvSpPr>
        <p:spPr>
          <a:xfrm>
            <a:off x="5218297" y="292341"/>
            <a:ext cx="995913" cy="523220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Secure API exposure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B3DC879-8EC1-0DD3-DCD7-FF5445DFB87E}"/>
              </a:ext>
            </a:extLst>
          </p:cNvPr>
          <p:cNvSpPr txBox="1"/>
          <p:nvPr/>
        </p:nvSpPr>
        <p:spPr>
          <a:xfrm>
            <a:off x="2939357" y="287858"/>
            <a:ext cx="1323376" cy="523220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Self-service 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API subscripti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9474775-B7B6-5980-9C71-C65F7AFEF73D}"/>
              </a:ext>
            </a:extLst>
          </p:cNvPr>
          <p:cNvSpPr txBox="1"/>
          <p:nvPr/>
        </p:nvSpPr>
        <p:spPr>
          <a:xfrm>
            <a:off x="2441642" y="3270790"/>
            <a:ext cx="42753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integration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52B001E-0B31-50FB-4C76-95D91211B7F8}"/>
              </a:ext>
            </a:extLst>
          </p:cNvPr>
          <p:cNvSpPr txBox="1"/>
          <p:nvPr/>
        </p:nvSpPr>
        <p:spPr>
          <a:xfrm>
            <a:off x="2441642" y="1985379"/>
            <a:ext cx="42753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 management</a:t>
            </a: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4B0BE7E0-26F9-046C-1D15-75C8A67A1681}"/>
              </a:ext>
            </a:extLst>
          </p:cNvPr>
          <p:cNvCxnSpPr>
            <a:cxnSpLocks/>
            <a:stCxn id="74" idx="2"/>
            <a:endCxn id="20" idx="0"/>
          </p:cNvCxnSpPr>
          <p:nvPr/>
        </p:nvCxnSpPr>
        <p:spPr bwMode="auto">
          <a:xfrm flipH="1">
            <a:off x="5716253" y="815561"/>
            <a:ext cx="1" cy="81853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BCAFA703-C129-3045-193C-0F7E10D36919}"/>
              </a:ext>
            </a:extLst>
          </p:cNvPr>
          <p:cNvSpPr txBox="1"/>
          <p:nvPr/>
        </p:nvSpPr>
        <p:spPr>
          <a:xfrm>
            <a:off x="5071185" y="4777638"/>
            <a:ext cx="129013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i="1" kern="0" dirty="0" err="1">
                <a:latin typeface="Arial" panose="020B0604020202020204" pitchFamily="34" charset="0"/>
                <a:cs typeface="Arial" panose="020B0604020202020204" pitchFamily="34" charset="0"/>
              </a:rPr>
              <a:t>salesforce.com</a:t>
            </a:r>
            <a:endParaRPr lang="en-US" sz="1200" i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3855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able 8">
            <a:extLst>
              <a:ext uri="{FF2B5EF4-FFF2-40B4-BE49-F238E27FC236}">
                <a16:creationId xmlns:a16="http://schemas.microsoft.com/office/drawing/2014/main" id="{1C995D4B-7917-DD46-46B0-D45C795A91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1107573"/>
              </p:ext>
            </p:extLst>
          </p:nvPr>
        </p:nvGraphicFramePr>
        <p:xfrm>
          <a:off x="228665" y="692448"/>
          <a:ext cx="8765023" cy="27076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310952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454071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and summariz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-enabled application integration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demo uses a Salesforce ‘new case opening’ example to illustrate how the Cloud Pak for Integration simplifies the authoring and management of APIs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Integra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 management; Application integration; Connector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oud Pak for Integration 2021.4.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3"/>
                        </a:rPr>
                        <a:t>https://techzone.ibm.com/collection/platinum-demos-api-enabled-application-integration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22663667"/>
                  </a:ext>
                </a:extLst>
              </a:tr>
            </a:tbl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343401" y="112971"/>
            <a:ext cx="4709807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sp>
        <p:nvSpPr>
          <p:cNvPr id="42" name="Rectangle 4">
            <a:extLst>
              <a:ext uri="{FF2B5EF4-FFF2-40B4-BE49-F238E27FC236}">
                <a16:creationId xmlns:a16="http://schemas.microsoft.com/office/drawing/2014/main" id="{1A7C81CA-EECD-6425-D126-236A842257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62925" y="3320667"/>
            <a:ext cx="4957167" cy="135428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b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8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Rectangle 3">
            <a:extLst>
              <a:ext uri="{FF2B5EF4-FFF2-40B4-BE49-F238E27FC236}">
                <a16:creationId xmlns:a16="http://schemas.microsoft.com/office/drawing/2014/main" id="{6005B1DD-40A6-03E2-30AA-389DBE850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493771" y="3465544"/>
            <a:ext cx="2268738" cy="9815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integration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3DBC22B-B65B-B26F-283D-454190764CF0}"/>
              </a:ext>
            </a:extLst>
          </p:cNvPr>
          <p:cNvGrpSpPr/>
          <p:nvPr/>
        </p:nvGrpSpPr>
        <p:grpSpPr>
          <a:xfrm>
            <a:off x="4868809" y="3920276"/>
            <a:ext cx="1518661" cy="371488"/>
            <a:chOff x="5157941" y="4260040"/>
            <a:chExt cx="1325611" cy="371488"/>
          </a:xfrm>
        </p:grpSpPr>
        <p:sp>
          <p:nvSpPr>
            <p:cNvPr id="45" name="Rectangle 3">
              <a:extLst>
                <a:ext uri="{FF2B5EF4-FFF2-40B4-BE49-F238E27FC236}">
                  <a16:creationId xmlns:a16="http://schemas.microsoft.com/office/drawing/2014/main" id="{C5B749A1-74B2-7126-E118-C03CDFE905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849261" y="4260040"/>
              <a:ext cx="634291" cy="3711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36000" tIns="36000" rIns="36000" bIns="3600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nectors</a:t>
              </a:r>
            </a:p>
          </p:txBody>
        </p:sp>
        <p:sp>
          <p:nvSpPr>
            <p:cNvPr id="46" name="Rectangle 3">
              <a:extLst>
                <a:ext uri="{FF2B5EF4-FFF2-40B4-BE49-F238E27FC236}">
                  <a16:creationId xmlns:a16="http://schemas.microsoft.com/office/drawing/2014/main" id="{850FD6C8-0626-9030-3FF3-05F6B0FB87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157941" y="4260422"/>
              <a:ext cx="634291" cy="3711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36000" tIns="36000" rIns="36000" bIns="3600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gration development</a:t>
              </a:r>
            </a:p>
          </p:txBody>
        </p:sp>
      </p:grpSp>
      <p:sp>
        <p:nvSpPr>
          <p:cNvPr id="51" name="Rectangle 4">
            <a:extLst>
              <a:ext uri="{FF2B5EF4-FFF2-40B4-BE49-F238E27FC236}">
                <a16:creationId xmlns:a16="http://schemas.microsoft.com/office/drawing/2014/main" id="{389F0AE7-0AD7-A46D-B9E8-29987AD35F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018969" y="3320667"/>
            <a:ext cx="1429238" cy="135428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b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800" i="1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Rectangle 3">
            <a:extLst>
              <a:ext uri="{FF2B5EF4-FFF2-40B4-BE49-F238E27FC236}">
                <a16:creationId xmlns:a16="http://schemas.microsoft.com/office/drawing/2014/main" id="{FA9FC054-267F-8E7B-A316-1A8BEA567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152695" y="3465544"/>
            <a:ext cx="1161787" cy="9815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 accou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4BB1A61-992E-073A-5FAD-3914E1DCF65D}"/>
              </a:ext>
            </a:extLst>
          </p:cNvPr>
          <p:cNvSpPr txBox="1"/>
          <p:nvPr/>
        </p:nvSpPr>
        <p:spPr>
          <a:xfrm>
            <a:off x="1962925" y="4461382"/>
            <a:ext cx="495716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Integr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16663D1-D487-B347-D394-FFE29FE91650}"/>
              </a:ext>
            </a:extLst>
          </p:cNvPr>
          <p:cNvSpPr txBox="1"/>
          <p:nvPr/>
        </p:nvSpPr>
        <p:spPr>
          <a:xfrm>
            <a:off x="7018969" y="4461382"/>
            <a:ext cx="142923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i="1" kern="0" dirty="0" err="1">
                <a:latin typeface="Arial" panose="020B0604020202020204" pitchFamily="34" charset="0"/>
                <a:cs typeface="Arial" panose="020B0604020202020204" pitchFamily="34" charset="0"/>
              </a:rPr>
              <a:t>salesforce.com</a:t>
            </a:r>
            <a:endParaRPr lang="en-US" sz="800" i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64C76D1-9E3F-5BF4-7A82-80A7A928C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308333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C5B03F-47B8-2DA6-B729-175F022114F3}"/>
              </a:ext>
            </a:extLst>
          </p:cNvPr>
          <p:cNvSpPr txBox="1"/>
          <p:nvPr/>
        </p:nvSpPr>
        <p:spPr>
          <a:xfrm>
            <a:off x="1962924" y="3102532"/>
            <a:ext cx="495716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IBM TechZone-provided environ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8D86B60-4617-6966-671E-62E0ADA9BD25}"/>
              </a:ext>
            </a:extLst>
          </p:cNvPr>
          <p:cNvSpPr txBox="1"/>
          <p:nvPr/>
        </p:nvSpPr>
        <p:spPr>
          <a:xfrm>
            <a:off x="7018970" y="3102532"/>
            <a:ext cx="142923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Third-party application</a:t>
            </a: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116F9CFA-4262-1643-A0D7-1613CC92F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156626" y="3465545"/>
            <a:ext cx="2268738" cy="9815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 managemen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61AB564-3686-FA49-3E56-7A4DEB26F239}"/>
              </a:ext>
            </a:extLst>
          </p:cNvPr>
          <p:cNvGrpSpPr/>
          <p:nvPr/>
        </p:nvGrpSpPr>
        <p:grpSpPr>
          <a:xfrm>
            <a:off x="2293441" y="3916859"/>
            <a:ext cx="1995108" cy="374905"/>
            <a:chOff x="2206357" y="4003943"/>
            <a:chExt cx="1995108" cy="374905"/>
          </a:xfrm>
        </p:grpSpPr>
        <p:sp>
          <p:nvSpPr>
            <p:cNvPr id="29" name="Rectangle 3">
              <a:extLst>
                <a:ext uri="{FF2B5EF4-FFF2-40B4-BE49-F238E27FC236}">
                  <a16:creationId xmlns:a16="http://schemas.microsoft.com/office/drawing/2014/main" id="{1E72D023-26CD-D84D-9009-E30DE6C45A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579673" y="4003943"/>
              <a:ext cx="621792" cy="3749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36000" tIns="36000" rIns="36000" bIns="3600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veloper portal</a:t>
              </a:r>
            </a:p>
          </p:txBody>
        </p:sp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480BDEB0-5726-504F-A9B8-FD92ED48A0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206357" y="4003948"/>
              <a:ext cx="621792" cy="374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36000" tIns="36000" rIns="36000" bIns="3600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I gateway</a:t>
              </a:r>
            </a:p>
          </p:txBody>
        </p:sp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51E64B26-FD5C-B54D-ACB4-96F1175F0F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893015" y="4003944"/>
              <a:ext cx="621792" cy="374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36000" tIns="36000" rIns="36000" bIns="3600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I manag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341820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 picture containing blur&#10;&#10;Description automatically generated">
            <a:extLst>
              <a:ext uri="{FF2B5EF4-FFF2-40B4-BE49-F238E27FC236}">
                <a16:creationId xmlns:a16="http://schemas.microsoft.com/office/drawing/2014/main" id="{47BCA2D1-DE06-C959-3DAC-AAFBEF2459AD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33" name="Picture 32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21F42AF2-5E9A-EF9C-6D40-6B5C12201A1D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A68CDC5D-A261-DE43-81EE-201B7FFD1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3954186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3982874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Pak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2987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47390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580920D-4CBE-E629-47B3-CE9708EFBDFC}"/>
              </a:ext>
            </a:extLst>
          </p:cNvPr>
          <p:cNvGrpSpPr/>
          <p:nvPr/>
        </p:nvGrpSpPr>
        <p:grpSpPr>
          <a:xfrm>
            <a:off x="2602618" y="4148245"/>
            <a:ext cx="5739305" cy="483254"/>
            <a:chOff x="2602618" y="4173469"/>
            <a:chExt cx="5739305" cy="483254"/>
          </a:xfrm>
        </p:grpSpPr>
        <p:sp>
          <p:nvSpPr>
            <p:cNvPr id="17" name="Rectangle 4">
              <a:extLst>
                <a:ext uri="{FF2B5EF4-FFF2-40B4-BE49-F238E27FC236}">
                  <a16:creationId xmlns:a16="http://schemas.microsoft.com/office/drawing/2014/main" id="{D00425B2-C6FE-25C2-6F6F-062BBA616F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602619" y="4173469"/>
              <a:ext cx="5739304" cy="4832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C6EC43C8-B369-9C3A-3701-2C9E449372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12980" y="4271234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B7B79BA-7685-B021-1D8E-73BB8AB56B31}"/>
                </a:ext>
              </a:extLst>
            </p:cNvPr>
            <p:cNvSpPr/>
            <p:nvPr/>
          </p:nvSpPr>
          <p:spPr>
            <a:xfrm>
              <a:off x="2602618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I managemen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B0797FE-AFAA-A869-5724-E6BF239F4EAF}"/>
                </a:ext>
              </a:extLst>
            </p:cNvPr>
            <p:cNvSpPr/>
            <p:nvPr/>
          </p:nvSpPr>
          <p:spPr>
            <a:xfrm>
              <a:off x="4512979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 integration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715FD-9D03-B1A9-5C59-D1956CDEC3E8}"/>
                </a:ext>
              </a:extLst>
            </p:cNvPr>
            <p:cNvSpPr/>
            <p:nvPr/>
          </p:nvSpPr>
          <p:spPr>
            <a:xfrm>
              <a:off x="6431355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nectors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A551BBC-E526-86C6-DEDE-ECF0DBB79EE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425447" y="4271234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091C318-F602-3C4B-8252-5B53D73ED3FE}"/>
              </a:ext>
            </a:extLst>
          </p:cNvPr>
          <p:cNvGrpSpPr/>
          <p:nvPr/>
        </p:nvGrpSpPr>
        <p:grpSpPr>
          <a:xfrm>
            <a:off x="1341865" y="1117610"/>
            <a:ext cx="6460270" cy="2631953"/>
            <a:chOff x="3227025" y="1094697"/>
            <a:chExt cx="5079527" cy="2631953"/>
          </a:xfrm>
        </p:grpSpPr>
        <p:sp>
          <p:nvSpPr>
            <p:cNvPr id="29" name="Rectangle 3">
              <a:extLst>
                <a:ext uri="{FF2B5EF4-FFF2-40B4-BE49-F238E27FC236}">
                  <a16:creationId xmlns:a16="http://schemas.microsoft.com/office/drawing/2014/main" id="{752CCF8E-1FD1-704F-974F-927C0880000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227025" y="1094697"/>
              <a:ext cx="3134695" cy="6583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AutoMate</a:t>
              </a: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 Car Repair develops an API that automatically creates ‘repair request’ records in Salesforce. </a:t>
              </a:r>
            </a:p>
          </p:txBody>
        </p:sp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ED62E097-A1B4-3A48-944B-6D8ACED2FF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171857" y="3068282"/>
              <a:ext cx="3134695" cy="6583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API portal auto-generates sample input data so developers can test the API before subscribing to it.</a:t>
              </a:r>
            </a:p>
          </p:txBody>
        </p:sp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06D99008-3E2F-A044-93B9-E40F75BB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23670" y="2410421"/>
              <a:ext cx="3134695" cy="65836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publishes the API to an API portal so developers can easily find and gain access to it.</a:t>
              </a:r>
            </a:p>
          </p:txBody>
        </p:sp>
        <p:sp>
          <p:nvSpPr>
            <p:cNvPr id="32" name="Rectangle 3">
              <a:extLst>
                <a:ext uri="{FF2B5EF4-FFF2-40B4-BE49-F238E27FC236}">
                  <a16:creationId xmlns:a16="http://schemas.microsoft.com/office/drawing/2014/main" id="{481DCCD9-D0BD-114A-BDDF-684D487FC85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875483" y="1752559"/>
              <a:ext cx="3137494" cy="6583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When a repair request is received, the API connects to Salesforce, opens a case, and responds to the customer with an estimated repair time and cos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86035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blur&#10;&#10;Description automatically generated">
            <a:extLst>
              <a:ext uri="{FF2B5EF4-FFF2-40B4-BE49-F238E27FC236}">
                <a16:creationId xmlns:a16="http://schemas.microsoft.com/office/drawing/2014/main" id="{CED57069-C646-A5DF-3A0F-DC90F3CBBCDA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8" name="Picture 2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E7A64F59-03EB-E135-FE86-0A4239C3491D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E545A05-844D-F893-FC33-F7CF7AF9D940}"/>
              </a:ext>
            </a:extLst>
          </p:cNvPr>
          <p:cNvGrpSpPr/>
          <p:nvPr/>
        </p:nvGrpSpPr>
        <p:grpSpPr>
          <a:xfrm>
            <a:off x="1128697" y="904666"/>
            <a:ext cx="6886607" cy="3694945"/>
            <a:chOff x="1128697" y="941011"/>
            <a:chExt cx="6886607" cy="369494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63F996B-5E95-4D46-B53C-FCF10FC1A669}"/>
                </a:ext>
              </a:extLst>
            </p:cNvPr>
            <p:cNvGrpSpPr/>
            <p:nvPr/>
          </p:nvGrpSpPr>
          <p:grpSpPr>
            <a:xfrm>
              <a:off x="1128697" y="945224"/>
              <a:ext cx="1828799" cy="1694237"/>
              <a:chOff x="-5328" y="3121514"/>
              <a:chExt cx="2337808" cy="1694237"/>
            </a:xfrm>
          </p:grpSpPr>
          <p:sp>
            <p:nvSpPr>
              <p:cNvPr id="8" name="Rectangle 3">
                <a:extLst>
                  <a:ext uri="{FF2B5EF4-FFF2-40B4-BE49-F238E27FC236}">
                    <a16:creationId xmlns:a16="http://schemas.microsoft.com/office/drawing/2014/main" id="{1F13DFAD-69BD-FC4B-805F-A21C2507EF6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-5328" y="3121514"/>
                <a:ext cx="2337808" cy="519548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viewing the flow</a:t>
                </a:r>
              </a:p>
            </p:txBody>
          </p:sp>
          <p:sp>
            <p:nvSpPr>
              <p:cNvPr id="9" name="Rectangle 4">
                <a:extLst>
                  <a:ext uri="{FF2B5EF4-FFF2-40B4-BE49-F238E27FC236}">
                    <a16:creationId xmlns:a16="http://schemas.microsoft.com/office/drawing/2014/main" id="{CE41BB34-7C40-7E4B-9E2D-D3F38AF950D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-5325" y="3632637"/>
                <a:ext cx="2337110" cy="1183114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xplore the pre-built flow showing simple API construction and Salesforce interaction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9228875B-5713-2C4F-AEA2-F532D8B88F4F}"/>
                </a:ext>
              </a:extLst>
            </p:cNvPr>
            <p:cNvGrpSpPr/>
            <p:nvPr/>
          </p:nvGrpSpPr>
          <p:grpSpPr>
            <a:xfrm>
              <a:off x="3657599" y="943118"/>
              <a:ext cx="1828801" cy="1698449"/>
              <a:chOff x="2016283" y="1764942"/>
              <a:chExt cx="2337809" cy="1698449"/>
            </a:xfrm>
          </p:grpSpPr>
          <p:sp>
            <p:nvSpPr>
              <p:cNvPr id="23" name="Rectangle 3">
                <a:extLst>
                  <a:ext uri="{FF2B5EF4-FFF2-40B4-BE49-F238E27FC236}">
                    <a16:creationId xmlns:a16="http://schemas.microsoft.com/office/drawing/2014/main" id="{9B280A5F-18FE-3E43-8B97-CDE8D51B0FD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016283" y="1764942"/>
                <a:ext cx="2337807" cy="51954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esting the flow</a:t>
                </a:r>
              </a:p>
            </p:txBody>
          </p:sp>
          <p:sp>
            <p:nvSpPr>
              <p:cNvPr id="24" name="Rectangle 4">
                <a:extLst>
                  <a:ext uri="{FF2B5EF4-FFF2-40B4-BE49-F238E27FC236}">
                    <a16:creationId xmlns:a16="http://schemas.microsoft.com/office/drawing/2014/main" id="{DCF49236-97C3-D64F-A92A-7A9663ADA4B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016284" y="2284489"/>
                <a:ext cx="2337808" cy="1178902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lvl="0"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est the flow in a managed sandbox to show that it creates cases in Salesforce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436F63D-74C7-E54E-86F0-F262D838D463}"/>
                </a:ext>
              </a:extLst>
            </p:cNvPr>
            <p:cNvGrpSpPr/>
            <p:nvPr/>
          </p:nvGrpSpPr>
          <p:grpSpPr>
            <a:xfrm>
              <a:off x="6186504" y="941011"/>
              <a:ext cx="1828800" cy="1702662"/>
              <a:chOff x="3497729" y="1764942"/>
              <a:chExt cx="2181954" cy="1702662"/>
            </a:xfrm>
          </p:grpSpPr>
          <p:sp>
            <p:nvSpPr>
              <p:cNvPr id="25" name="Rectangle 3">
                <a:extLst>
                  <a:ext uri="{FF2B5EF4-FFF2-40B4-BE49-F238E27FC236}">
                    <a16:creationId xmlns:a16="http://schemas.microsoft.com/office/drawing/2014/main" id="{D22060B1-2A09-714B-A299-B99F4946E8A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497729" y="1764942"/>
                <a:ext cx="2181952" cy="52073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ploying the flow</a:t>
                </a:r>
              </a:p>
            </p:txBody>
          </p:sp>
          <p:sp>
            <p:nvSpPr>
              <p:cNvPr id="26" name="Rectangle 4">
                <a:extLst>
                  <a:ext uri="{FF2B5EF4-FFF2-40B4-BE49-F238E27FC236}">
                    <a16:creationId xmlns:a16="http://schemas.microsoft.com/office/drawing/2014/main" id="{C0DF3D78-1210-3F42-BFE5-5FEFF72DF72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497729" y="2292914"/>
                <a:ext cx="2181954" cy="117469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lvl="0"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mote the flow to a new environment</a:t>
                </a:r>
              </a:p>
            </p:txBody>
          </p:sp>
        </p:grpSp>
        <p:sp>
          <p:nvSpPr>
            <p:cNvPr id="6" name="Right Arrow 5">
              <a:extLst>
                <a:ext uri="{FF2B5EF4-FFF2-40B4-BE49-F238E27FC236}">
                  <a16:creationId xmlns:a16="http://schemas.microsoft.com/office/drawing/2014/main" id="{308772FF-5C22-0949-9B77-ECD7469501CB}"/>
                </a:ext>
              </a:extLst>
            </p:cNvPr>
            <p:cNvSpPr/>
            <p:nvPr/>
          </p:nvSpPr>
          <p:spPr bwMode="auto">
            <a:xfrm>
              <a:off x="3062849" y="1605599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sp>
          <p:nvSpPr>
            <p:cNvPr id="22" name="Right Arrow 21">
              <a:extLst>
                <a:ext uri="{FF2B5EF4-FFF2-40B4-BE49-F238E27FC236}">
                  <a16:creationId xmlns:a16="http://schemas.microsoft.com/office/drawing/2014/main" id="{C4216C5F-D81F-EF41-8F06-95473350260F}"/>
                </a:ext>
              </a:extLst>
            </p:cNvPr>
            <p:cNvSpPr/>
            <p:nvPr/>
          </p:nvSpPr>
          <p:spPr bwMode="auto">
            <a:xfrm>
              <a:off x="5591753" y="1605599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7AEA654-E50D-C92F-5753-E8E1A6EA46BB}"/>
                </a:ext>
              </a:extLst>
            </p:cNvPr>
            <p:cNvGrpSpPr/>
            <p:nvPr/>
          </p:nvGrpSpPr>
          <p:grpSpPr>
            <a:xfrm>
              <a:off x="2392229" y="2929596"/>
              <a:ext cx="1828800" cy="1706360"/>
              <a:chOff x="2392229" y="2651889"/>
              <a:chExt cx="1828800" cy="1706360"/>
            </a:xfrm>
          </p:grpSpPr>
          <p:sp>
            <p:nvSpPr>
              <p:cNvPr id="30" name="Rectangle 3">
                <a:extLst>
                  <a:ext uri="{FF2B5EF4-FFF2-40B4-BE49-F238E27FC236}">
                    <a16:creationId xmlns:a16="http://schemas.microsoft.com/office/drawing/2014/main" id="{BFEE4C56-419A-E84C-BBAB-057789204EC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2392229" y="2651889"/>
                <a:ext cx="1828799" cy="519548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orking with the portal</a:t>
                </a:r>
              </a:p>
            </p:txBody>
          </p:sp>
          <p:sp>
            <p:nvSpPr>
              <p:cNvPr id="32" name="Rectangle 4">
                <a:extLst>
                  <a:ext uri="{FF2B5EF4-FFF2-40B4-BE49-F238E27FC236}">
                    <a16:creationId xmlns:a16="http://schemas.microsoft.com/office/drawing/2014/main" id="{152E9637-FC02-FF43-8151-2DF4865946A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392230" y="3178673"/>
                <a:ext cx="1828799" cy="117957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lvl="0"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sume the API via the developer portal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0AC4646-41E3-B0A2-1484-80D26E752C35}"/>
                </a:ext>
              </a:extLst>
            </p:cNvPr>
            <p:cNvGrpSpPr/>
            <p:nvPr/>
          </p:nvGrpSpPr>
          <p:grpSpPr>
            <a:xfrm>
              <a:off x="4922970" y="2933215"/>
              <a:ext cx="1828801" cy="1699123"/>
              <a:chOff x="4922970" y="2647466"/>
              <a:chExt cx="1828801" cy="1699123"/>
            </a:xfrm>
          </p:grpSpPr>
          <p:sp>
            <p:nvSpPr>
              <p:cNvPr id="35" name="Rectangle 3">
                <a:extLst>
                  <a:ext uri="{FF2B5EF4-FFF2-40B4-BE49-F238E27FC236}">
                    <a16:creationId xmlns:a16="http://schemas.microsoft.com/office/drawing/2014/main" id="{9B5082C3-5FFE-8849-8E57-27732AACE7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922970" y="2647466"/>
                <a:ext cx="1828797" cy="51954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naging APIs</a:t>
                </a:r>
              </a:p>
            </p:txBody>
          </p:sp>
          <p:sp>
            <p:nvSpPr>
              <p:cNvPr id="36" name="Rectangle 4">
                <a:extLst>
                  <a:ext uri="{FF2B5EF4-FFF2-40B4-BE49-F238E27FC236}">
                    <a16:creationId xmlns:a16="http://schemas.microsoft.com/office/drawing/2014/main" id="{975AEB0C-5251-D44E-9BAE-3A1C9961032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4922971" y="3167013"/>
                <a:ext cx="1828800" cy="117957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lvl="0"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ecurely expose the API providing full authentication and</a:t>
                </a:r>
                <a:b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ate limiting</a:t>
                </a:r>
              </a:p>
            </p:txBody>
          </p:sp>
        </p:grpSp>
        <p:sp>
          <p:nvSpPr>
            <p:cNvPr id="37" name="Right Arrow 36">
              <a:extLst>
                <a:ext uri="{FF2B5EF4-FFF2-40B4-BE49-F238E27FC236}">
                  <a16:creationId xmlns:a16="http://schemas.microsoft.com/office/drawing/2014/main" id="{B7F6E0F8-2A58-1547-AD9F-558CEFEA4F00}"/>
                </a:ext>
              </a:extLst>
            </p:cNvPr>
            <p:cNvSpPr/>
            <p:nvPr/>
          </p:nvSpPr>
          <p:spPr bwMode="auto">
            <a:xfrm flipH="1">
              <a:off x="4327301" y="3596033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3175DF8-4AC4-2741-A6B4-AFD26636387B}"/>
                </a:ext>
              </a:extLst>
            </p:cNvPr>
            <p:cNvGrpSpPr/>
            <p:nvPr/>
          </p:nvGrpSpPr>
          <p:grpSpPr>
            <a:xfrm>
              <a:off x="6858040" y="3337110"/>
              <a:ext cx="643701" cy="632410"/>
              <a:chOff x="6674454" y="2969524"/>
              <a:chExt cx="643701" cy="632410"/>
            </a:xfrm>
          </p:grpSpPr>
          <p:sp>
            <p:nvSpPr>
              <p:cNvPr id="39" name="Right Arrow 38">
                <a:extLst>
                  <a:ext uri="{FF2B5EF4-FFF2-40B4-BE49-F238E27FC236}">
                    <a16:creationId xmlns:a16="http://schemas.microsoft.com/office/drawing/2014/main" id="{88DD8C47-FBC7-F84C-B7CF-1BE9FDC1A8D3}"/>
                  </a:ext>
                </a:extLst>
              </p:cNvPr>
              <p:cNvSpPr/>
              <p:nvPr/>
            </p:nvSpPr>
            <p:spPr bwMode="auto">
              <a:xfrm flipH="1">
                <a:off x="6674454" y="3228447"/>
                <a:ext cx="489397" cy="373487"/>
              </a:xfrm>
              <a:prstGeom prst="rightArrow">
                <a:avLst/>
              </a:prstGeom>
              <a:solidFill>
                <a:schemeClr val="bg2">
                  <a:lumMod val="90000"/>
                </a:schemeClr>
              </a:solidFill>
              <a:ln w="19050">
                <a:solidFill>
                  <a:schemeClr val="bg2">
                    <a:lumMod val="90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</a:pPr>
                <a:endPara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accent2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3EEAC205-CCD9-2A40-8E6B-F4909499AF1B}"/>
                  </a:ext>
                </a:extLst>
              </p:cNvPr>
              <p:cNvSpPr/>
              <p:nvPr/>
            </p:nvSpPr>
            <p:spPr bwMode="auto">
              <a:xfrm>
                <a:off x="7135275" y="2969524"/>
                <a:ext cx="182880" cy="5486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</a:pPr>
                <a:endPara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324666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blur&#10;&#10;Description automatically generated">
            <a:extLst>
              <a:ext uri="{FF2B5EF4-FFF2-40B4-BE49-F238E27FC236}">
                <a16:creationId xmlns:a16="http://schemas.microsoft.com/office/drawing/2014/main" id="{44AC18F0-AFB6-DF2B-386D-34EB7A94C212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8" name="Picture 2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8A9F18C0-30DB-981B-8210-1FE82187C6EA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B905E5-F06A-7854-29BF-B7B75474FDC0}"/>
              </a:ext>
            </a:extLst>
          </p:cNvPr>
          <p:cNvGrpSpPr/>
          <p:nvPr/>
        </p:nvGrpSpPr>
        <p:grpSpPr>
          <a:xfrm>
            <a:off x="750807" y="1182010"/>
            <a:ext cx="7642386" cy="2779481"/>
            <a:chOff x="724155" y="1306135"/>
            <a:chExt cx="7642386" cy="2779481"/>
          </a:xfrm>
        </p:grpSpPr>
        <p:sp>
          <p:nvSpPr>
            <p:cNvPr id="45" name="Rectangle 4">
              <a:extLst>
                <a:ext uri="{FF2B5EF4-FFF2-40B4-BE49-F238E27FC236}">
                  <a16:creationId xmlns:a16="http://schemas.microsoft.com/office/drawing/2014/main" id="{24C344C7-1A04-430A-0D21-2427EBEED0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24156" y="1306135"/>
              <a:ext cx="4922264" cy="277948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sp>
          <p:nvSpPr>
            <p:cNvPr id="46" name="Rectangle 4">
              <a:extLst>
                <a:ext uri="{FF2B5EF4-FFF2-40B4-BE49-F238E27FC236}">
                  <a16:creationId xmlns:a16="http://schemas.microsoft.com/office/drawing/2014/main" id="{6A3AAA99-F2D8-0E01-14D6-B5577C1948A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835182" y="1308788"/>
              <a:ext cx="2531359" cy="277682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sp>
          <p:nvSpPr>
            <p:cNvPr id="49" name="Rectangle 3">
              <a:extLst>
                <a:ext uri="{FF2B5EF4-FFF2-40B4-BE49-F238E27FC236}">
                  <a16:creationId xmlns:a16="http://schemas.microsoft.com/office/drawing/2014/main" id="{6F83FF36-CD73-364F-54C6-FECDA05AA90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026441" y="1498258"/>
              <a:ext cx="2148840" cy="214963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b="1" kern="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lesforce.com</a:t>
              </a:r>
              <a:endPara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EFDE8BB1-6B5A-F684-C31D-E04F373C59D5}"/>
                </a:ext>
              </a:extLst>
            </p:cNvPr>
            <p:cNvSpPr txBox="1"/>
            <p:nvPr/>
          </p:nvSpPr>
          <p:spPr>
            <a:xfrm>
              <a:off x="724155" y="3725490"/>
              <a:ext cx="492226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Cloud Pak for Integration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166F91D-F9F5-239D-9096-3ECE1F3A1D28}"/>
                </a:ext>
              </a:extLst>
            </p:cNvPr>
            <p:cNvGrpSpPr/>
            <p:nvPr/>
          </p:nvGrpSpPr>
          <p:grpSpPr>
            <a:xfrm>
              <a:off x="904572" y="1498258"/>
              <a:ext cx="4561433" cy="2149640"/>
              <a:chOff x="899745" y="1498258"/>
              <a:chExt cx="4561433" cy="2149640"/>
            </a:xfrm>
          </p:grpSpPr>
          <p:sp>
            <p:nvSpPr>
              <p:cNvPr id="20" name="Rectangle 3">
                <a:extLst>
                  <a:ext uri="{FF2B5EF4-FFF2-40B4-BE49-F238E27FC236}">
                    <a16:creationId xmlns:a16="http://schemas.microsoft.com/office/drawing/2014/main" id="{C44C8CEB-E3F0-502B-76F1-5AF9763E6D1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242342" y="1498259"/>
                <a:ext cx="2218836" cy="214963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anchor="t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b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plication</a:t>
                </a:r>
                <a:b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tegration</a:t>
                </a:r>
              </a:p>
            </p:txBody>
          </p:sp>
          <p:sp>
            <p:nvSpPr>
              <p:cNvPr id="23" name="Rectangle 3">
                <a:extLst>
                  <a:ext uri="{FF2B5EF4-FFF2-40B4-BE49-F238E27FC236}">
                    <a16:creationId xmlns:a16="http://schemas.microsoft.com/office/drawing/2014/main" id="{4E9FC4C6-858B-304B-7BF0-F2E88408D522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899745" y="1498258"/>
                <a:ext cx="2218836" cy="214964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anchor="t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b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I management</a:t>
                </a:r>
              </a:p>
            </p:txBody>
          </p: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AA1E2F0-54C7-EDEB-3058-0B6EB4B84998}"/>
                  </a:ext>
                </a:extLst>
              </p:cNvPr>
              <p:cNvGrpSpPr/>
              <p:nvPr/>
            </p:nvGrpSpPr>
            <p:grpSpPr>
              <a:xfrm>
                <a:off x="988275" y="2248400"/>
                <a:ext cx="2041776" cy="1215491"/>
                <a:chOff x="1054752" y="4585344"/>
                <a:chExt cx="2041776" cy="1215491"/>
              </a:xfrm>
            </p:grpSpPr>
            <p:sp>
              <p:nvSpPr>
                <p:cNvPr id="24" name="Rectangle 3">
                  <a:extLst>
                    <a:ext uri="{FF2B5EF4-FFF2-40B4-BE49-F238E27FC236}">
                      <a16:creationId xmlns:a16="http://schemas.microsoft.com/office/drawing/2014/main" id="{11578C86-1B7E-E42D-6F05-A6B56C3BFC82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2114932" y="4585344"/>
                  <a:ext cx="981596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PI manager</a:t>
                  </a:r>
                </a:p>
              </p:txBody>
            </p:sp>
            <p:sp>
              <p:nvSpPr>
                <p:cNvPr id="25" name="Rectangle 3">
                  <a:extLst>
                    <a:ext uri="{FF2B5EF4-FFF2-40B4-BE49-F238E27FC236}">
                      <a16:creationId xmlns:a16="http://schemas.microsoft.com/office/drawing/2014/main" id="{582A8D5B-E5B4-E3E8-062A-E5EA744A5844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1054752" y="4585344"/>
                  <a:ext cx="989051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PI gateway</a:t>
                  </a:r>
                </a:p>
              </p:txBody>
            </p:sp>
            <p:sp>
              <p:nvSpPr>
                <p:cNvPr id="26" name="Rectangle 3">
                  <a:extLst>
                    <a:ext uri="{FF2B5EF4-FFF2-40B4-BE49-F238E27FC236}">
                      <a16:creationId xmlns:a16="http://schemas.microsoft.com/office/drawing/2014/main" id="{4C8EA6D4-EBD8-1EA3-8DD3-6D6BCD0A51DE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1586436" y="5232515"/>
                  <a:ext cx="978408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eveloper portal</a:t>
                  </a:r>
                </a:p>
              </p:txBody>
            </p:sp>
          </p:grpSp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44077D88-C692-E659-0B9B-55BE4BE2CFE6}"/>
                  </a:ext>
                </a:extLst>
              </p:cNvPr>
              <p:cNvGrpSpPr/>
              <p:nvPr/>
            </p:nvGrpSpPr>
            <p:grpSpPr>
              <a:xfrm>
                <a:off x="3330872" y="2571985"/>
                <a:ext cx="2041776" cy="568320"/>
                <a:chOff x="1013054" y="3953123"/>
                <a:chExt cx="2041776" cy="568320"/>
              </a:xfrm>
            </p:grpSpPr>
            <p:sp>
              <p:nvSpPr>
                <p:cNvPr id="22" name="Rectangle 3">
                  <a:extLst>
                    <a:ext uri="{FF2B5EF4-FFF2-40B4-BE49-F238E27FC236}">
                      <a16:creationId xmlns:a16="http://schemas.microsoft.com/office/drawing/2014/main" id="{1B7D9A0F-EEF8-A29B-4CCC-99C16F544E93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>
                  <a:off x="1013054" y="3953123"/>
                  <a:ext cx="986349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tegration development</a:t>
                  </a:r>
                </a:p>
              </p:txBody>
            </p:sp>
            <p:sp>
              <p:nvSpPr>
                <p:cNvPr id="21" name="Rectangle 3">
                  <a:extLst>
                    <a:ext uri="{FF2B5EF4-FFF2-40B4-BE49-F238E27FC236}">
                      <a16:creationId xmlns:a16="http://schemas.microsoft.com/office/drawing/2014/main" id="{3B427D65-EC5B-D289-6E67-CB35D371BEDF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2068481" y="3953123"/>
                  <a:ext cx="986349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onnectors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720517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FC501F7-74BE-3A08-8900-6F93FF2ED203}"/>
              </a:ext>
            </a:extLst>
          </p:cNvPr>
          <p:cNvSpPr txBox="1">
            <a:spLocks/>
          </p:cNvSpPr>
          <p:nvPr/>
        </p:nvSpPr>
        <p:spPr>
          <a:xfrm>
            <a:off x="2" y="1112775"/>
            <a:ext cx="9143998" cy="145897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-enabled application integration</a:t>
            </a:r>
            <a:endParaRPr lang="en-US" sz="3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2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2" y="-19761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1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sz="2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I-enabled application integration demo</a:t>
            </a:r>
          </a:p>
          <a:p>
            <a:pPr defTabSz="914400"/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b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2F2E16-27BA-9609-8013-B44DEC313A06}"/>
              </a:ext>
            </a:extLst>
          </p:cNvPr>
          <p:cNvSpPr/>
          <p:nvPr/>
        </p:nvSpPr>
        <p:spPr bwMode="auto">
          <a:xfrm>
            <a:off x="329581" y="990510"/>
            <a:ext cx="8484839" cy="3790784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3688298-2038-DB1B-F003-ABA9C042F84B}"/>
              </a:ext>
            </a:extLst>
          </p:cNvPr>
          <p:cNvSpPr/>
          <p:nvPr/>
        </p:nvSpPr>
        <p:spPr>
          <a:xfrm>
            <a:off x="329580" y="1120264"/>
            <a:ext cx="7434074" cy="3277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330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design experience across APIs and integrations…</a:t>
            </a:r>
          </a:p>
          <a:p>
            <a:pPr marL="697321" lvl="1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ens development time</a:t>
            </a:r>
          </a:p>
          <a:p>
            <a:pPr marL="697321" lvl="1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s quality</a:t>
            </a:r>
          </a:p>
          <a:p>
            <a:pPr marL="685892" lvl="2" indent="-274320">
              <a:lnSpc>
                <a:spcPct val="90000"/>
              </a:lnSpc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s skill barrier across development of APIs and integrations</a:t>
            </a:r>
          </a:p>
          <a:p>
            <a:pPr marL="354330" indent="-285750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 management…</a:t>
            </a:r>
          </a:p>
          <a:p>
            <a:pPr marL="697321" lvl="1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es APIs, helping to mitigate the inherent risk of exposing business capabilities to a wider audience</a:t>
            </a:r>
          </a:p>
          <a:p>
            <a:pPr marL="685892" lvl="2" indent="-274320">
              <a:lnSpc>
                <a:spcPct val="90000"/>
              </a:lnSpc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s rapid release cycles, supporting the business agility and experimentation that are critical to digital transformation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PI portal provides a controlled self-service environment.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reduces the amount of work, while opening the door to new business models and partnerships.</a:t>
            </a:r>
          </a:p>
        </p:txBody>
      </p:sp>
    </p:spTree>
    <p:extLst>
      <p:ext uri="{BB962C8B-B14F-4D97-AF65-F5344CB8AC3E}">
        <p14:creationId xmlns:p14="http://schemas.microsoft.com/office/powerpoint/2010/main" val="24051178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63C62270-0155-7918-0E84-DBFB73E3B0D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8" name="Picture 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4CDC4DA5-A197-3BC1-4C8D-A0DE32C915B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eating flows for an API from scratch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eating and managing flow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ploying designer flows and API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sting a running API flow 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14257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25611</TotalTime>
  <Words>576</Words>
  <Application>Microsoft Macintosh PowerPoint</Application>
  <PresentationFormat>On-screen Show (16:9)</PresentationFormat>
  <Paragraphs>120</Paragraphs>
  <Slides>10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IBM Plex Sans Light</vt:lpstr>
      <vt:lpstr>System Font Regular</vt:lpstr>
      <vt:lpstr>IBM Plex Sans</vt:lpstr>
      <vt:lpstr>Calibri</vt:lpstr>
      <vt:lpstr>Arial</vt:lpstr>
      <vt:lpstr>IBM Brand Template 2022</vt:lpstr>
      <vt:lpstr>PowerPoint Presentation</vt:lpstr>
      <vt:lpstr>Demo overview</vt:lpstr>
      <vt:lpstr>Demo overview</vt:lpstr>
      <vt:lpstr>Demo flow</vt:lpstr>
      <vt:lpstr>Demo components</vt:lpstr>
      <vt:lpstr>PowerPoint Presentation</vt:lpstr>
      <vt:lpstr>PowerPoint Presentation</vt:lpstr>
      <vt:lpstr>PowerPoint Presentation</vt:lpstr>
      <vt:lpstr>Additional learning resources</vt:lpstr>
      <vt:lpstr>Demo architectur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Dennis Woo</dc:creator>
  <cp:lastModifiedBy>Dennis Woo</cp:lastModifiedBy>
  <cp:revision>81</cp:revision>
  <cp:lastPrinted>2019-04-25T15:14:05Z</cp:lastPrinted>
  <dcterms:created xsi:type="dcterms:W3CDTF">2022-03-29T18:01:34Z</dcterms:created>
  <dcterms:modified xsi:type="dcterms:W3CDTF">2022-06-24T20:53:30Z</dcterms:modified>
</cp:coreProperties>
</file>